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p:scale>
          <a:sx n="75" d="100"/>
          <a:sy n="75" d="100"/>
        </p:scale>
        <p:origin x="82" y="13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da-DK"/>
              <a:t>Klik for at redigere titeltypografien i masteren</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da-DK"/>
              <a:t>Klik for at redigere titeltypografien i masteren</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5/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Jesus er allerede kommet igen!?</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a:bodyPr>
          <a:lstStyle/>
          <a:p>
            <a:r>
              <a:rPr lang="da-DK" dirty="0"/>
              <a:t>Matthæusevangeliets 25. kapitel handler om Jesu genkomst. Men pointen i denne lignelse om fårene og bukkene er, at vi ikke behøver at vente med at gøre godt mod Jesus. Vi kan gøre det allerede nu ved at gøre godt mod Jesu mindste små. I den forstand er Jesus allerede kommet igen.</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Matt. 25:31-46</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200" dirty="0"/>
              <a:t>Ser vi Jesus i dag gennem hans mindste små?</a:t>
            </a:r>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dirty="0"/>
              <a:t>Hvem er Jesu mindste små? Og hvorfor er de så vigtige for Jesus?</a:t>
            </a:r>
          </a:p>
          <a:p>
            <a:r>
              <a:rPr lang="da-DK" dirty="0"/>
              <a:t>Lærer Jesus os med denne lignelse, at vi bliver frelst gennem gerninger eller går fortabt </a:t>
            </a:r>
            <a:r>
              <a:rPr lang="da-DK" dirty="0" err="1"/>
              <a:t>pga</a:t>
            </a:r>
            <a:r>
              <a:rPr lang="da-DK" dirty="0"/>
              <a:t> af det, vi ikke har gjort?</a:t>
            </a:r>
          </a:p>
          <a:p>
            <a:endParaRPr lang="da-DK" dirty="0"/>
          </a:p>
          <a:p>
            <a:pPr marL="0" indent="0">
              <a:buNone/>
            </a:pPr>
            <a:endParaRPr lang="da-DK" dirty="0"/>
          </a:p>
          <a:p>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Kan du identificere én af Jesu mindste små, som du kunne gøre noget godt for denne uge?</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k">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Prædiken 29.11.20201 PAGER" id="{345F1684-2561-2B4F-8DAE-1715D5B2AE66}" vid="{43EDFB2B-7DD1-484B-9D19-7D6F41400DF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kabelon til one pager (1)</Template>
  <TotalTime>21</TotalTime>
  <Words>135</Words>
  <Application>Microsoft Office PowerPoint</Application>
  <PresentationFormat>Widescreen</PresentationFormat>
  <Paragraphs>8</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Visk</vt:lpstr>
      <vt:lpstr>think-cell Slide</vt:lpstr>
      <vt:lpstr>Jesus er allerede kommet ig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esus er allerede kommet igen!?</dc:title>
  <dc:creator>Peter Kjærsgaard</dc:creator>
  <cp:lastModifiedBy>Peter Kjærsgaard</cp:lastModifiedBy>
  <cp:revision>2</cp:revision>
  <dcterms:created xsi:type="dcterms:W3CDTF">2023-12-05T15:50:38Z</dcterms:created>
  <dcterms:modified xsi:type="dcterms:W3CDTF">2023-12-05T16:1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